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26" r:id="rId2"/>
  </p:sldMasterIdLst>
  <p:notesMasterIdLst>
    <p:notesMasterId r:id="rId11"/>
  </p:notesMasterIdLst>
  <p:handoutMasterIdLst>
    <p:handoutMasterId r:id="rId12"/>
  </p:handoutMasterIdLst>
  <p:sldIdLst>
    <p:sldId id="1007" r:id="rId3"/>
    <p:sldId id="1010" r:id="rId4"/>
    <p:sldId id="1008" r:id="rId5"/>
    <p:sldId id="1011" r:id="rId6"/>
    <p:sldId id="992" r:id="rId7"/>
    <p:sldId id="1012" r:id="rId8"/>
    <p:sldId id="1009" r:id="rId9"/>
    <p:sldId id="941" r:id="rId10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47">
          <p15:clr>
            <a:srgbClr val="A4A3A4"/>
          </p15:clr>
        </p15:guide>
        <p15:guide id="2" orient="horz" pos="3918">
          <p15:clr>
            <a:srgbClr val="A4A3A4"/>
          </p15:clr>
        </p15:guide>
        <p15:guide id="3" orient="horz" pos="1159">
          <p15:clr>
            <a:srgbClr val="A4A3A4"/>
          </p15:clr>
        </p15:guide>
        <p15:guide id="4" orient="horz" pos="4156">
          <p15:clr>
            <a:srgbClr val="A4A3A4"/>
          </p15:clr>
        </p15:guide>
        <p15:guide id="5" pos="2880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lokomme, Moutloane" initials="M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EDEDED"/>
    <a:srgbClr val="D8D8D8"/>
    <a:srgbClr val="00CC00"/>
    <a:srgbClr val="FF8C08"/>
    <a:srgbClr val="339966"/>
    <a:srgbClr val="66FF33"/>
    <a:srgbClr val="CCFFFF"/>
    <a:srgbClr val="FF66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370" autoAdjust="0"/>
    <p:restoredTop sz="94127" autoAdjust="0"/>
  </p:normalViewPr>
  <p:slideViewPr>
    <p:cSldViewPr snapToObjects="1">
      <p:cViewPr varScale="1">
        <p:scale>
          <a:sx n="69" d="100"/>
          <a:sy n="69" d="100"/>
        </p:scale>
        <p:origin x="-928" y="-72"/>
      </p:cViewPr>
      <p:guideLst>
        <p:guide orient="horz" pos="4247"/>
        <p:guide orient="horz" pos="3918"/>
        <p:guide orient="horz" pos="1159"/>
        <p:guide orient="horz" pos="4156"/>
        <p:guide pos="2880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4" d="100"/>
          <a:sy n="64" d="100"/>
        </p:scale>
        <p:origin x="-2760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CE56A3-CE0D-43A0-8814-9EAD3873BAC3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0" y="836613"/>
            <a:ext cx="4645025" cy="3484562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248" y="4715482"/>
            <a:ext cx="4983191" cy="4466002"/>
          </a:xfrm>
          <a:noFill/>
          <a:ln/>
        </p:spPr>
        <p:txBody>
          <a:bodyPr/>
          <a:lstStyle/>
          <a:p>
            <a:pPr eaLnBrk="1" hangingPunct="1"/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0150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8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36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890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25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041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48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49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18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10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0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817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909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9144000" cy="596900"/>
          </a:xfrm>
          <a:prstGeom prst="rect">
            <a:avLst/>
          </a:prstGeom>
          <a:solidFill>
            <a:srgbClr val="0066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ZA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100221" y="113724"/>
            <a:ext cx="86471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Text: 16-pt. Arial with Wingdings square square bullet 100%</a:t>
            </a:r>
          </a:p>
          <a:p>
            <a:pPr lvl="1"/>
            <a:r>
              <a:rPr lang="en-GB" smtClean="0"/>
              <a:t>Second-level bullet — Arial round</a:t>
            </a:r>
          </a:p>
          <a:p>
            <a:pPr lvl="2"/>
            <a:r>
              <a:rPr lang="en-GB" smtClean="0"/>
              <a:t>Third-level bullet — Arial Em dash</a:t>
            </a:r>
          </a:p>
          <a:p>
            <a:pPr lvl="3"/>
            <a:r>
              <a:rPr lang="en-GB" smtClean="0"/>
              <a:t>Fourth-level bullet — Arial Em dash</a:t>
            </a:r>
          </a:p>
          <a:p>
            <a:pPr lvl="4"/>
            <a:r>
              <a:rPr lang="en-GB" smtClean="0"/>
              <a:t>xx</a:t>
            </a:r>
          </a:p>
          <a:p>
            <a:pPr lvl="0"/>
            <a:r>
              <a:rPr lang="en-GB" smtClean="0"/>
              <a:t>Text: 16 pt. Arial, plain text sentence case</a:t>
            </a:r>
          </a:p>
          <a:p>
            <a:pPr lvl="1"/>
            <a:r>
              <a:rPr lang="en-GB" smtClean="0"/>
              <a:t>Second-level bullet</a:t>
            </a:r>
          </a:p>
          <a:p>
            <a:pPr lvl="2"/>
            <a:r>
              <a:rPr lang="en-GB" smtClean="0"/>
              <a:t>Third-level bullet</a:t>
            </a:r>
          </a:p>
          <a:p>
            <a:pPr lvl="3"/>
            <a:r>
              <a:rPr lang="en-GB" smtClean="0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810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7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3270068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jmumaw\Desktop\DCS\Pics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70038" y="609600"/>
            <a:ext cx="5473700" cy="179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07365" y="2784699"/>
            <a:ext cx="8520112" cy="3656386"/>
          </a:xfrm>
          <a:ln/>
        </p:spPr>
        <p:txBody>
          <a:bodyPr/>
          <a:lstStyle/>
          <a:p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Presentation on</a:t>
            </a:r>
            <a:r>
              <a:rPr lang="en-US" sz="3200" dirty="0">
                <a:solidFill>
                  <a:srgbClr val="FF0000"/>
                </a:solidFill>
              </a:rPr>
              <a:t/>
            </a:r>
            <a:br>
              <a:rPr lang="en-US" sz="3200" dirty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DCS 2</a:t>
            </a:r>
            <a:r>
              <a:rPr lang="en-US" sz="3200" baseline="30000" dirty="0" smtClean="0">
                <a:solidFill>
                  <a:srgbClr val="FF0000"/>
                </a:solidFill>
              </a:rPr>
              <a:t>nd</a:t>
            </a:r>
            <a:r>
              <a:rPr lang="en-US" sz="3200" dirty="0" smtClean="0">
                <a:solidFill>
                  <a:srgbClr val="FF0000"/>
                </a:solidFill>
              </a:rPr>
              <a:t> Quarter Actual Performance Report (2016/2017)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2800" b="0" dirty="0" smtClean="0">
                <a:latin typeface="Century Gothic" panose="020B0502020202020204" pitchFamily="34" charset="0"/>
              </a:rPr>
              <a:t/>
            </a:r>
            <a:br>
              <a:rPr lang="en-US" sz="2800" b="0" dirty="0" smtClean="0">
                <a:latin typeface="Century Gothic" panose="020B0502020202020204" pitchFamily="34" charset="0"/>
              </a:rPr>
            </a:br>
            <a:r>
              <a:rPr lang="en-US" sz="2800" b="0" dirty="0">
                <a:latin typeface="Century Gothic" panose="020B0502020202020204" pitchFamily="34" charset="0"/>
              </a:rPr>
              <a:t/>
            </a:r>
            <a:br>
              <a:rPr lang="en-US" sz="2800" b="0" dirty="0">
                <a:latin typeface="Century Gothic" panose="020B0502020202020204" pitchFamily="34" charset="0"/>
              </a:rPr>
            </a:br>
            <a:r>
              <a:rPr lang="en-GB" sz="2800" b="0" dirty="0" smtClean="0">
                <a:latin typeface="Century Gothic" panose="020B0502020202020204" pitchFamily="34" charset="0"/>
              </a:rPr>
              <a:t>November   </a:t>
            </a:r>
            <a:r>
              <a:rPr lang="en-GB" sz="2800" b="0" dirty="0">
                <a:latin typeface="Century Gothic" panose="020B0502020202020204" pitchFamily="34" charset="0"/>
              </a:rPr>
              <a:t>2016</a:t>
            </a:r>
            <a:br>
              <a:rPr lang="en-GB" sz="2800" b="0" dirty="0">
                <a:latin typeface="Century Gothic" panose="020B0502020202020204" pitchFamily="34" charset="0"/>
              </a:rPr>
            </a:br>
            <a:endParaRPr lang="en-GB" sz="2800" b="0" dirty="0">
              <a:latin typeface="Century Gothic" panose="020B0502020202020204" pitchFamily="34" charset="0"/>
            </a:endParaRPr>
          </a:p>
        </p:txBody>
      </p:sp>
      <p:pic>
        <p:nvPicPr>
          <p:cNvPr id="5" name="Picture 4" descr="Slide1 Template_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65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503330" y="1500296"/>
            <a:ext cx="575824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RESENTATION ON Q2 PERFORMANCE</a:t>
            </a:r>
          </a:p>
          <a:p>
            <a:pPr algn="ctr"/>
            <a:endParaRPr lang="en-US" sz="2800" b="1" kern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/>
            <a:r>
              <a:rPr lang="en-US" sz="28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GITO BRANCH</a:t>
            </a:r>
            <a:endParaRPr lang="en-US" sz="28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6795" y="3912513"/>
            <a:ext cx="35461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/>
              </a:rPr>
              <a:t>24 NOVEMBER 2020</a:t>
            </a:r>
            <a:endParaRPr lang="en-US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732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BE75937-E151-4B2B-8C64-9A22524FD06C}"/>
              </a:ext>
            </a:extLst>
          </p:cNvPr>
          <p:cNvSpPr/>
          <p:nvPr/>
        </p:nvSpPr>
        <p:spPr>
          <a:xfrm>
            <a:off x="0" y="4076700"/>
            <a:ext cx="9144000" cy="8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9DE8BFE-FE5B-4B85-95C6-4BC24BEA18CB}"/>
              </a:ext>
            </a:extLst>
          </p:cNvPr>
          <p:cNvSpPr/>
          <p:nvPr/>
        </p:nvSpPr>
        <p:spPr>
          <a:xfrm>
            <a:off x="1725976" y="-2752"/>
            <a:ext cx="89154" cy="68607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43C31C0-A678-488B-954D-3C31F9292F64}"/>
              </a:ext>
            </a:extLst>
          </p:cNvPr>
          <p:cNvSpPr/>
          <p:nvPr/>
        </p:nvSpPr>
        <p:spPr>
          <a:xfrm>
            <a:off x="1822704" y="-8966"/>
            <a:ext cx="7321296" cy="4078939"/>
          </a:xfrm>
          <a:prstGeom prst="rect">
            <a:avLst/>
          </a:prstGeom>
          <a:solidFill>
            <a:srgbClr val="84D684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B460027-1BF7-4B04-A53C-BB6E7681BBF8}"/>
              </a:ext>
            </a:extLst>
          </p:cNvPr>
          <p:cNvSpPr/>
          <p:nvPr/>
        </p:nvSpPr>
        <p:spPr>
          <a:xfrm>
            <a:off x="1815130" y="4169150"/>
            <a:ext cx="7321296" cy="2688849"/>
          </a:xfrm>
          <a:prstGeom prst="rect">
            <a:avLst/>
          </a:prstGeom>
          <a:solidFill>
            <a:srgbClr val="BCEABC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58715" y="415169"/>
            <a:ext cx="6677123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PERFORMANCE TARGETS NOT ACHIE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81127" y="4286250"/>
            <a:ext cx="5888499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QUARTER 2</a:t>
            </a:r>
          </a:p>
        </p:txBody>
      </p:sp>
    </p:spTree>
    <p:extLst>
      <p:ext uri="{BB962C8B-B14F-4D97-AF65-F5344CB8AC3E}">
        <p14:creationId xmlns:p14="http://schemas.microsoft.com/office/powerpoint/2010/main" val="4021134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Notes to the presentation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61303" y="1135380"/>
            <a:ext cx="851217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 smtClean="0"/>
              <a:t>Regions to focus on targets not achieved for Quarter 2 (cumulatively since Q1)</a:t>
            </a:r>
          </a:p>
          <a:p>
            <a:endParaRPr lang="en-ZA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Reports should indicate </a:t>
            </a:r>
            <a:r>
              <a:rPr lang="en-ZA" dirty="0"/>
              <a:t>what was planned against what was not achieved</a:t>
            </a:r>
            <a:endParaRPr lang="en-GB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Include under achievement at source </a:t>
            </a:r>
            <a:r>
              <a:rPr lang="en-ZA" dirty="0" smtClean="0"/>
              <a:t>(Regions)</a:t>
            </a:r>
            <a:endParaRPr lang="en-ZA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Identify root causes of the under achievement and associated risks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Explain the corrective actions required in a </a:t>
            </a:r>
            <a:r>
              <a:rPr lang="en-ZA" dirty="0" err="1" smtClean="0"/>
              <a:t>projectised</a:t>
            </a:r>
            <a:r>
              <a:rPr lang="en-ZA" dirty="0" smtClean="0"/>
              <a:t> approach (i.e. what needs to be done, when and by whom, when is the target expected to be achieved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What are the long term solutions to ensure that the problems identified do not reoccur </a:t>
            </a:r>
          </a:p>
        </p:txBody>
      </p:sp>
    </p:spTree>
    <p:extLst>
      <p:ext uri="{BB962C8B-B14F-4D97-AF65-F5344CB8AC3E}">
        <p14:creationId xmlns:p14="http://schemas.microsoft.com/office/powerpoint/2010/main" val="2659050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800" y="2279087"/>
            <a:ext cx="8516937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</a:t>
            </a:r>
            <a:r>
              <a:rPr lang="en-US" sz="7200" b="1" kern="0" dirty="0" smtClean="0">
                <a:solidFill>
                  <a:srgbClr val="000000"/>
                </a:solidFill>
                <a:latin typeface="Arial"/>
                <a:cs typeface="Arial"/>
              </a:rPr>
              <a:t>1: ADMINISTRATION</a:t>
            </a:r>
            <a:endParaRPr lang="en-US" sz="7200" b="1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7964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382436"/>
              </p:ext>
            </p:extLst>
          </p:nvPr>
        </p:nvGraphicFramePr>
        <p:xfrm>
          <a:off x="152400" y="1063285"/>
          <a:ext cx="8610600" cy="45755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195"/>
                <a:gridCol w="933414"/>
                <a:gridCol w="948626"/>
                <a:gridCol w="1218371"/>
                <a:gridCol w="909154"/>
                <a:gridCol w="869501"/>
                <a:gridCol w="1063762"/>
                <a:gridCol w="1491577"/>
              </a:tblGrid>
              <a:tr h="557813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INFORMATION TECHNOLOGY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598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75099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'Number of sites where Mesh network and integrated security system are installed (ISS)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e lockdown regulations presented delays in the procurement through SITA of the Mesh Network an Integrated Security Systems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 request will be re-issued and expedite the process by making constant follow-ups stakeholders 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DC:GITO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ngagement with stakeholder bi-weekly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'Number of sites where Inmate Communications systems are installed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'The RFP (Request for Proposal) for the Inmate Communication System received were not inline with the specification of the service. 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view requirements and request for alternative solution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. Infrastructure and Telephony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w requirements are issued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74705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51033"/>
              </p:ext>
            </p:extLst>
          </p:nvPr>
        </p:nvGraphicFramePr>
        <p:xfrm>
          <a:off x="152400" y="1063285"/>
          <a:ext cx="8610600" cy="46517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195"/>
                <a:gridCol w="933414"/>
                <a:gridCol w="948626"/>
                <a:gridCol w="1218371"/>
                <a:gridCol w="909154"/>
                <a:gridCol w="869501"/>
                <a:gridCol w="1063762"/>
                <a:gridCol w="1491577"/>
              </a:tblGrid>
              <a:tr h="557813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INFORMATION TECHNOLOGY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598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'Percentage of Information Systems (IIMS) implemented as per MISSTP</a:t>
                      </a: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39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 11/461)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'The lockdown regulations between Level 5-4 did not permit travel to regions and management areas which created a backlog.  In addition the 50/50 working arrangement limited the capacity to implement within the required timeframes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'There will be an increase on Human Resource capacity of two officials for deployment, local sites will be prioritised and the deployment period will be reduced from 4 weeks to 2 weeks. 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C: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tions Management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wo more sites were deployed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163935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mtClean="0"/>
              <a:t>SUMMARY OF IMPROVEMENTS FOR Q2</a:t>
            </a:r>
            <a:endParaRPr lang="en-GB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SUMMARY OF IMPROVEMENTS FOR Q2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956009"/>
            <a:ext cx="81534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/>
              <a:t>Engagement with SITA on the bi-weekly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/>
              <a:t>Short-time on the implementation and deployment of IIMS per 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/>
              <a:t>Engage with new Stakehold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9342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 smtClean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  <a:endParaRPr lang="en-US" sz="4000" dirty="0">
              <a:solidFill>
                <a:prstClr val="white"/>
              </a:solidFill>
              <a:latin typeface="Calibri"/>
              <a:cs typeface="Arial Blac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510</TotalTime>
  <Words>444</Words>
  <Application>Microsoft Office PowerPoint</Application>
  <PresentationFormat>On-screen Show (4:3)</PresentationFormat>
  <Paragraphs>74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3_Blank</vt:lpstr>
      <vt:lpstr>Office Theme</vt:lpstr>
      <vt:lpstr> Presentation on DCS 2nd Quarter Actual Performance Report (2016/2017)    November   2016 </vt:lpstr>
      <vt:lpstr>PowerPoint Presentation</vt:lpstr>
      <vt:lpstr>Notes to the presentation</vt:lpstr>
      <vt:lpstr>PowerPoint Presentation</vt:lpstr>
      <vt:lpstr>PowerPoint Presentation</vt:lpstr>
      <vt:lpstr>PowerPoint Presentation</vt:lpstr>
      <vt:lpstr>SUMMARY OF IMPROVEMENTS FOR Q2</vt:lpstr>
      <vt:lpstr>PowerPoint Presentation</vt:lpstr>
    </vt:vector>
  </TitlesOfParts>
  <Company>Ac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Molokomme, Moutloane</cp:lastModifiedBy>
  <cp:revision>3926</cp:revision>
  <cp:lastPrinted>2020-10-05T09:22:03Z</cp:lastPrinted>
  <dcterms:created xsi:type="dcterms:W3CDTF">2011-05-16T12:44:01Z</dcterms:created>
  <dcterms:modified xsi:type="dcterms:W3CDTF">2020-11-17T13:37:57Z</dcterms:modified>
</cp:coreProperties>
</file>